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sldIdLst>
    <p:sldId id="302" r:id="rId2"/>
    <p:sldId id="332" r:id="rId3"/>
    <p:sldId id="333" r:id="rId4"/>
    <p:sldId id="272" r:id="rId5"/>
    <p:sldId id="312" r:id="rId6"/>
    <p:sldId id="313" r:id="rId7"/>
    <p:sldId id="299" r:id="rId8"/>
    <p:sldId id="275" r:id="rId9"/>
    <p:sldId id="322" r:id="rId10"/>
    <p:sldId id="321" r:id="rId11"/>
    <p:sldId id="323" r:id="rId12"/>
    <p:sldId id="325" r:id="rId13"/>
    <p:sldId id="287" r:id="rId14"/>
    <p:sldId id="288" r:id="rId15"/>
    <p:sldId id="327" r:id="rId16"/>
    <p:sldId id="328" r:id="rId17"/>
    <p:sldId id="295" r:id="rId18"/>
    <p:sldId id="296" r:id="rId19"/>
    <p:sldId id="276" r:id="rId20"/>
    <p:sldId id="292" r:id="rId21"/>
    <p:sldId id="308" r:id="rId22"/>
    <p:sldId id="318" r:id="rId23"/>
    <p:sldId id="281" r:id="rId24"/>
    <p:sldId id="300" r:id="rId25"/>
    <p:sldId id="301" r:id="rId26"/>
    <p:sldId id="338" r:id="rId27"/>
    <p:sldId id="334" r:id="rId28"/>
    <p:sldId id="335" r:id="rId29"/>
    <p:sldId id="336" r:id="rId30"/>
    <p:sldId id="337" r:id="rId31"/>
  </p:sldIdLst>
  <p:sldSz cx="12192000" cy="6858000"/>
  <p:notesSz cx="7086600" cy="93726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535353"/>
    <a:srgbClr val="A6A6A6"/>
    <a:srgbClr val="3264C8"/>
    <a:srgbClr val="7F9FDF"/>
    <a:srgbClr val="003399"/>
    <a:srgbClr val="A7BDE9"/>
    <a:srgbClr val="C8D8E6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69" autoAdjust="0"/>
    <p:restoredTop sz="93073" autoAdjust="0"/>
  </p:normalViewPr>
  <p:slideViewPr>
    <p:cSldViewPr showGuides="1">
      <p:cViewPr varScale="1">
        <p:scale>
          <a:sx n="146" d="100"/>
          <a:sy n="146" d="100"/>
        </p:scale>
        <p:origin x="168" y="104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prstGeom prst="rect">
            <a:avLst/>
          </a:prstGeo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4500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67637" y="117007"/>
            <a:ext cx="11232000" cy="71999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479376" y="837000"/>
            <a:ext cx="11232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11784000" y="6498000"/>
            <a:ext cx="408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ctr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ctr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68" r:id="rId3"/>
    <p:sldLayoutId id="214748379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lickcharts.com/sp500" TargetMode="External"/><Relationship Id="rId4" Type="http://schemas.openxmlformats.org/officeDocument/2006/relationships/hyperlink" Target="https://www.slickcharts.com/nasdaq100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en.wikipedia.org/wiki/List_of_presidents_of_the_United_State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00" y="2737631"/>
            <a:ext cx="1295920" cy="405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 from many data sourc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196736"/>
            <a:ext cx="11232000" cy="410426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2850A0"/>
                </a:solidFill>
              </a:rPr>
              <a:t>Powerful</a:t>
            </a:r>
            <a:r>
              <a:rPr lang="en-US" sz="1400" dirty="0"/>
              <a:t>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</a:t>
            </a:r>
            <a:r>
              <a:rPr lang="en-US" sz="1400" dirty="0"/>
              <a:t>to solve complex proble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Immediately </a:t>
            </a:r>
            <a:r>
              <a:rPr lang="en-US" sz="1400" dirty="0"/>
              <a:t>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Clear, natural language</a:t>
            </a:r>
            <a:r>
              <a:rPr lang="en-US" sz="1400" dirty="0"/>
              <a:t>. Give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ig Data tables</a:t>
            </a:r>
            <a:r>
              <a:rPr lang="en-US" sz="1400" dirty="0"/>
              <a:t> of any size are one of the main data storage models and B4P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hierarchical data storage model </a:t>
            </a:r>
            <a:r>
              <a:rPr lang="en-US" sz="1400" dirty="0"/>
              <a:t>to manage tree-type hierarchical inform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complexit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Portability </a:t>
            </a:r>
            <a:r>
              <a:rPr lang="en-US" sz="1400" dirty="0"/>
              <a:t>(Windows, Linux, MacOS, etc.), enabling to run the same code on any comput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utput Excel files </a:t>
            </a:r>
            <a:r>
              <a:rPr lang="en-US" sz="1400" b="1" dirty="0">
                <a:solidFill>
                  <a:srgbClr val="003399"/>
                </a:solidFill>
              </a:rPr>
              <a:t>with style and formatting</a:t>
            </a:r>
            <a:r>
              <a:rPr lang="en-US" sz="1400" dirty="0"/>
              <a:t> like fonts, colors, number format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function library </a:t>
            </a:r>
            <a:r>
              <a:rPr lang="en-US" sz="1400" dirty="0"/>
              <a:t>with </a:t>
            </a:r>
            <a:r>
              <a:rPr lang="en-US" sz="1400" b="1" dirty="0">
                <a:solidFill>
                  <a:srgbClr val="2850A0"/>
                </a:solidFill>
              </a:rPr>
              <a:t>over 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1488000" y="5625921"/>
            <a:ext cx="8568000" cy="557715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B4P Language allows you to express yourself easily in plain English to solve complex problem.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657" y="1269000"/>
            <a:ext cx="11196980" cy="4896544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B4P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3000000" y="4725000"/>
            <a:ext cx="4464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Complete solutions require only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162" y="1539844"/>
            <a:ext cx="3160179" cy="1396465"/>
          </a:xfrm>
          <a:prstGeom prst="rect">
            <a:avLst/>
          </a:prstGeom>
          <a:ln>
            <a:noFill/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119822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41" y="3442364"/>
            <a:ext cx="2297425" cy="167667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1373755" y="5708656"/>
            <a:ext cx="900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Task:  A new football club should be created by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use different naming schemes 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69241" y="3100742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9711" y="1541123"/>
            <a:ext cx="3888000" cy="357791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824002" y="1137147"/>
            <a:ext cx="2880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Merged Membership List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3" name="Group 23">
            <a:extLst>
              <a:ext uri="{FF2B5EF4-FFF2-40B4-BE49-F238E27FC236}">
                <a16:creationId xmlns:a16="http://schemas.microsoft.com/office/drawing/2014/main" id="{3B4634C1-5635-5843-AE55-9B575ED81C0D}"/>
              </a:ext>
            </a:extLst>
          </p:cNvPr>
          <p:cNvGrpSpPr/>
          <p:nvPr/>
        </p:nvGrpSpPr>
        <p:grpSpPr>
          <a:xfrm>
            <a:off x="5016000" y="2709000"/>
            <a:ext cx="1656000" cy="936000"/>
            <a:chOff x="4625551" y="2005520"/>
            <a:chExt cx="1974449" cy="1202399"/>
          </a:xfrm>
        </p:grpSpPr>
        <p:grpSp>
          <p:nvGrpSpPr>
            <p:cNvPr id="44" name="Gruppieren 8">
              <a:extLst>
                <a:ext uri="{FF2B5EF4-FFF2-40B4-BE49-F238E27FC236}">
                  <a16:creationId xmlns:a16="http://schemas.microsoft.com/office/drawing/2014/main" id="{15BEF521-9E40-DD4D-B637-16B3F30AB2B9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51" name="B4P">
                <a:extLst>
                  <a:ext uri="{FF2B5EF4-FFF2-40B4-BE49-F238E27FC236}">
                    <a16:creationId xmlns:a16="http://schemas.microsoft.com/office/drawing/2014/main" id="{41B4BDD4-0C36-A647-8BFF-8F6386CC3217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52" name="Triangle">
                <a:extLst>
                  <a:ext uri="{FF2B5EF4-FFF2-40B4-BE49-F238E27FC236}">
                    <a16:creationId xmlns:a16="http://schemas.microsoft.com/office/drawing/2014/main" id="{E92130DC-56F2-E547-B36C-A20AC81A1525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45" name="Gruppieren 20">
              <a:extLst>
                <a:ext uri="{FF2B5EF4-FFF2-40B4-BE49-F238E27FC236}">
                  <a16:creationId xmlns:a16="http://schemas.microsoft.com/office/drawing/2014/main" id="{8AED75AA-347E-D54B-8FBC-D6C469A1387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48" name="Rechteck: abgerundete Ecken 14">
                <a:extLst>
                  <a:ext uri="{FF2B5EF4-FFF2-40B4-BE49-F238E27FC236}">
                    <a16:creationId xmlns:a16="http://schemas.microsoft.com/office/drawing/2014/main" id="{F12A5296-5952-4644-9E45-10EBC677F557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B4P">
                <a:extLst>
                  <a:ext uri="{FF2B5EF4-FFF2-40B4-BE49-F238E27FC236}">
                    <a16:creationId xmlns:a16="http://schemas.microsoft.com/office/drawing/2014/main" id="{18D9162D-BD4C-0B4B-8737-C9CD59A74343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50" name="Triangle">
                <a:extLst>
                  <a:ext uri="{FF2B5EF4-FFF2-40B4-BE49-F238E27FC236}">
                    <a16:creationId xmlns:a16="http://schemas.microsoft.com/office/drawing/2014/main" id="{58043186-6366-E84C-BE80-2B49FDE54691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46" name="Right Arrow 26">
              <a:extLst>
                <a:ext uri="{FF2B5EF4-FFF2-40B4-BE49-F238E27FC236}">
                  <a16:creationId xmlns:a16="http://schemas.microsoft.com/office/drawing/2014/main" id="{EB89E092-C779-6842-9C80-05A79719BC52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Right Arrow 27">
              <a:extLst>
                <a:ext uri="{FF2B5EF4-FFF2-40B4-BE49-F238E27FC236}">
                  <a16:creationId xmlns:a16="http://schemas.microsoft.com/office/drawing/2014/main" id="{79D12D36-16A6-204B-8526-A97A1EB02AD9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231975"/>
            <a:ext cx="11232000" cy="43199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205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205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4076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414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35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292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65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8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925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306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2709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717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34C9DE48-FC33-4247-823D-D985BD762804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2061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2061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781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42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2781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2565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>
            <a:extLst>
              <a:ext uri="{FF2B5EF4-FFF2-40B4-BE49-F238E27FC236}">
                <a16:creationId xmlns:a16="http://schemas.microsoft.com/office/drawing/2014/main" id="{8E7696A5-C206-9541-B8E0-67B8AFB305AC}"/>
              </a:ext>
            </a:extLst>
          </p:cNvPr>
          <p:cNvSpPr txBox="1">
            <a:spLocks/>
          </p:cNvSpPr>
          <p:nvPr/>
        </p:nvSpPr>
        <p:spPr>
          <a:xfrm>
            <a:off x="264000" y="1053000"/>
            <a:ext cx="11232000" cy="57605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add coloring, formatting, and style to Excel fil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869522D-9E86-E64A-8BEB-528A78F71DF9}"/>
              </a:ext>
            </a:extLst>
          </p:cNvPr>
          <p:cNvSpPr txBox="1">
            <a:spLocks/>
          </p:cNvSpPr>
          <p:nvPr/>
        </p:nvSpPr>
        <p:spPr>
          <a:xfrm>
            <a:off x="467637" y="11700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CA" sz="2000" kern="1200" cap="none" baseline="0" noProof="0" dirty="0">
                <a:solidFill>
                  <a:srgbClr val="8996A0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850A0"/>
                </a:solidFill>
              </a:rPr>
              <a:t>B4P Example #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Two Table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12" y="1628738"/>
            <a:ext cx="4390690" cy="25475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19" y="1671268"/>
            <a:ext cx="4645589" cy="2403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2111987" y="4909045"/>
            <a:ext cx="7968026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1: </a:t>
            </a:r>
            <a:r>
              <a:rPr lang="de-CH" sz="1200" dirty="0">
                <a:hlinkClick r:id="rId4"/>
              </a:rPr>
              <a:t>https://www.slickcharts.com/nasdaq100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2: </a:t>
            </a:r>
            <a:r>
              <a:rPr lang="de-CH" sz="1200" dirty="0">
                <a:hlinkClick r:id="rId5"/>
              </a:rPr>
              <a:t>https://www.slickcharts.com/sp500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27" name="Group 23">
            <a:extLst>
              <a:ext uri="{FF2B5EF4-FFF2-40B4-BE49-F238E27FC236}">
                <a16:creationId xmlns:a16="http://schemas.microsoft.com/office/drawing/2014/main" id="{4531D206-EDB7-214B-A128-C45D4D36DFDA}"/>
              </a:ext>
            </a:extLst>
          </p:cNvPr>
          <p:cNvGrpSpPr/>
          <p:nvPr/>
        </p:nvGrpSpPr>
        <p:grpSpPr>
          <a:xfrm>
            <a:off x="5077584" y="2620312"/>
            <a:ext cx="1656000" cy="936000"/>
            <a:chOff x="4625551" y="2005520"/>
            <a:chExt cx="1974449" cy="1202399"/>
          </a:xfrm>
        </p:grpSpPr>
        <p:grpSp>
          <p:nvGrpSpPr>
            <p:cNvPr id="28" name="Gruppieren 8">
              <a:extLst>
                <a:ext uri="{FF2B5EF4-FFF2-40B4-BE49-F238E27FC236}">
                  <a16:creationId xmlns:a16="http://schemas.microsoft.com/office/drawing/2014/main" id="{B8D64734-9BE3-024E-BE6A-28C602A4B143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1A772867-573E-654B-A9FA-77B22CD346B5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2A37F462-B074-B74C-92B7-6B4F9D7A2D9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9" name="Gruppieren 20">
              <a:extLst>
                <a:ext uri="{FF2B5EF4-FFF2-40B4-BE49-F238E27FC236}">
                  <a16:creationId xmlns:a16="http://schemas.microsoft.com/office/drawing/2014/main" id="{E673B26A-5DCB-B848-B21E-CCC87015CB11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4A9C3F8-408F-E54B-B6E3-C47B031FD57D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82F8CB4E-21A0-1542-873A-A91DECEAF69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60702E46-5954-1A4D-86F4-AE7C86F1CEA4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30" name="Right Arrow 26">
              <a:extLst>
                <a:ext uri="{FF2B5EF4-FFF2-40B4-BE49-F238E27FC236}">
                  <a16:creationId xmlns:a16="http://schemas.microsoft.com/office/drawing/2014/main" id="{DA8675A5-C3F0-A245-95EA-3B9F827651B8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CBE21CB-D396-2942-B307-CAA9D4EED534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917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3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600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328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57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4077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4293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52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868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88F96F-8592-AB47-B16D-22C6DFBFAE53}"/>
              </a:ext>
            </a:extLst>
          </p:cNvPr>
          <p:cNvSpPr/>
          <p:nvPr/>
        </p:nvSpPr>
        <p:spPr>
          <a:xfrm>
            <a:off x="2711680" y="1090336"/>
            <a:ext cx="70888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13 Statements, 1 loop and 1 variable do the complete job</a:t>
            </a:r>
            <a:endParaRPr lang="en-US" sz="2000" b="1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6252F39-2AFB-0D4F-BC51-A7FC596A9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623" y="1557000"/>
            <a:ext cx="3624137" cy="29794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00" y="2038115"/>
            <a:ext cx="4978513" cy="17720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2123637" y="5248950"/>
            <a:ext cx="7920000" cy="1368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dirty="0">
                <a:solidFill>
                  <a:schemeClr val="tx1"/>
                </a:solidFill>
              </a:rPr>
              <a:t>Task:  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ata source: </a:t>
            </a:r>
            <a:r>
              <a:rPr lang="de-CH" sz="1200" dirty="0">
                <a:hlinkClick r:id="rId4"/>
              </a:rPr>
              <a:t>https://en.wikipedia.org/wiki/List_of_presidents_of_the_United_States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Generate a nice table with </a:t>
            </a:r>
            <a:r>
              <a:rPr lang="en-US" sz="12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26" name="Group 23">
            <a:extLst>
              <a:ext uri="{FF2B5EF4-FFF2-40B4-BE49-F238E27FC236}">
                <a16:creationId xmlns:a16="http://schemas.microsoft.com/office/drawing/2014/main" id="{B260E60D-28FA-A241-B01C-AEBC8CBF10E2}"/>
              </a:ext>
            </a:extLst>
          </p:cNvPr>
          <p:cNvGrpSpPr/>
          <p:nvPr/>
        </p:nvGrpSpPr>
        <p:grpSpPr>
          <a:xfrm>
            <a:off x="5088000" y="2493000"/>
            <a:ext cx="1656000" cy="936000"/>
            <a:chOff x="4625551" y="2005520"/>
            <a:chExt cx="1974449" cy="1202399"/>
          </a:xfrm>
        </p:grpSpPr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id="{1114E857-820C-2745-A9E5-BA475C3B7FDB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5" name="B4P">
                <a:extLst>
                  <a:ext uri="{FF2B5EF4-FFF2-40B4-BE49-F238E27FC236}">
                    <a16:creationId xmlns:a16="http://schemas.microsoft.com/office/drawing/2014/main" id="{0A10E3B8-480E-3641-B022-2CB6C7A13BD1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6" name="Triangle">
                <a:extLst>
                  <a:ext uri="{FF2B5EF4-FFF2-40B4-BE49-F238E27FC236}">
                    <a16:creationId xmlns:a16="http://schemas.microsoft.com/office/drawing/2014/main" id="{AE3A2CF8-2A2A-1842-9153-FEE70EC74A8C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8" name="Gruppieren 20">
              <a:extLst>
                <a:ext uri="{FF2B5EF4-FFF2-40B4-BE49-F238E27FC236}">
                  <a16:creationId xmlns:a16="http://schemas.microsoft.com/office/drawing/2014/main" id="{4B1490B9-42D5-724A-A006-80AA666E1D3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32" name="Rechteck: abgerundete Ecken 14">
                <a:extLst>
                  <a:ext uri="{FF2B5EF4-FFF2-40B4-BE49-F238E27FC236}">
                    <a16:creationId xmlns:a16="http://schemas.microsoft.com/office/drawing/2014/main" id="{2F1C9B98-306E-054A-BEC2-A0D0F608D034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4P">
                <a:extLst>
                  <a:ext uri="{FF2B5EF4-FFF2-40B4-BE49-F238E27FC236}">
                    <a16:creationId xmlns:a16="http://schemas.microsoft.com/office/drawing/2014/main" id="{28CE70A1-2D5E-CA4F-9AEB-FF1F2F94607C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34" name="Triangle">
                <a:extLst>
                  <a:ext uri="{FF2B5EF4-FFF2-40B4-BE49-F238E27FC236}">
                    <a16:creationId xmlns:a16="http://schemas.microsoft.com/office/drawing/2014/main" id="{DC15AF50-6C30-5240-8F2E-910B58CCFA4A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9" name="Right Arrow 26">
              <a:extLst>
                <a:ext uri="{FF2B5EF4-FFF2-40B4-BE49-F238E27FC236}">
                  <a16:creationId xmlns:a16="http://schemas.microsoft.com/office/drawing/2014/main" id="{BB1993B8-9307-7F45-9B99-DF733E61B5B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1" name="Right Arrow 27">
              <a:extLst>
                <a:ext uri="{FF2B5EF4-FFF2-40B4-BE49-F238E27FC236}">
                  <a16:creationId xmlns:a16="http://schemas.microsoft.com/office/drawing/2014/main" id="{5FF9E285-2FAD-4048-A067-CAF0618E890B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12277"/>
            <a:ext cx="11232000" cy="796723"/>
          </a:xfrm>
        </p:spPr>
        <p:txBody>
          <a:bodyPr/>
          <a:lstStyle/>
          <a:p>
            <a:pPr algn="ctr"/>
            <a:r>
              <a:rPr lang="en-US">
                <a:solidFill>
                  <a:schemeClr val="bg1">
                    <a:lumMod val="75000"/>
                  </a:schemeClr>
                </a:solidFill>
              </a:rPr>
              <a:t>Overview</a:t>
            </a:r>
            <a:r>
              <a:rPr lang="en-US">
                <a:solidFill>
                  <a:srgbClr val="2850A0"/>
                </a:solidFill>
              </a:rPr>
              <a:t> </a:t>
            </a:r>
            <a:br>
              <a:rPr lang="en-US">
                <a:solidFill>
                  <a:srgbClr val="2850A0"/>
                </a:solidFill>
              </a:rPr>
            </a:br>
            <a:r>
              <a:rPr lang="en-US">
                <a:solidFill>
                  <a:srgbClr val="2850A0"/>
                </a:solidFill>
              </a:rPr>
              <a:t>The B4P Data Integration and Analytics Engine</a:t>
            </a: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766076" y="2130665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939857" y="3209996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814137" y="2118658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773510" y="1411722"/>
            <a:ext cx="2378734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607477" y="1387017"/>
            <a:ext cx="205524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797267" y="1388078"/>
            <a:ext cx="223473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lang="en-US" sz="1500"/>
              <a:t>B4P</a:t>
            </a:r>
            <a:r>
              <a:rPr lang="en-US"/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4300515" y="5486779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5308515" y="5702779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 dirty="0"/>
              <a:t>Database exports (Salesforce, Oracle, SAP,  FileMaker, et al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5308515" y="5918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5308515" y="6134779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sz="100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6467359" y="4356875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6507942" y="4400848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4060900" y="2133721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4060900" y="3110415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989599" y="2118658"/>
            <a:ext cx="2063293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872034" y="2468621"/>
            <a:ext cx="2162699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 lang="en-US"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2324706" y="3292495"/>
            <a:ext cx="924383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2359340" y="2309534"/>
            <a:ext cx="8434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2357685" y="3798189"/>
            <a:ext cx="8584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6135276" y="4824508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824009" y="4835394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lang="en-US" sz="1100"/>
              <a:t>process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B52D6-5BC7-9548-883B-2B6A139E7118}"/>
              </a:ext>
            </a:extLst>
          </p:cNvPr>
          <p:cNvGrpSpPr/>
          <p:nvPr/>
        </p:nvGrpSpPr>
        <p:grpSpPr>
          <a:xfrm>
            <a:off x="3705297" y="2269378"/>
            <a:ext cx="288497" cy="329375"/>
            <a:chOff x="3732405" y="2367361"/>
            <a:chExt cx="288497" cy="329375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3732405" y="2367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3784746" y="2403722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3845812" y="2440084"/>
              <a:ext cx="175090" cy="256652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5092086" y="4366505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5359676" y="3850469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620440" y="3852369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556259" y="4439667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562877" y="4618947"/>
            <a:ext cx="284691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17FDC6-DD2E-CE44-80B1-E6E6C45F4B72}"/>
              </a:ext>
            </a:extLst>
          </p:cNvPr>
          <p:cNvGrpSpPr/>
          <p:nvPr/>
        </p:nvGrpSpPr>
        <p:grpSpPr>
          <a:xfrm>
            <a:off x="3705297" y="3254026"/>
            <a:ext cx="288496" cy="352957"/>
            <a:chOff x="3732405" y="3352009"/>
            <a:chExt cx="288496" cy="352957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3732405" y="3352009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3819551" y="3439156"/>
              <a:ext cx="201350" cy="2658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627012" y="4477493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5130691" y="4403218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5139176" y="4426866"/>
            <a:ext cx="37926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/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522327" y="2411375"/>
            <a:ext cx="79124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B4P</a:t>
            </a:r>
          </a:p>
        </p:txBody>
      </p:sp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5308515" y="5486779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lang="en-US" sz="100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563768" y="5702779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640713" y="5918779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web data</a:t>
            </a:r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568577" y="6134779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sz="100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2335158" y="5419017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 lang="en-US"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655655" y="5749385"/>
            <a:ext cx="164034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 dirty="0"/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606617" y="2884400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447910" y="2758342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2180892" y="2790150"/>
            <a:ext cx="121797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lang="en-US"/>
              <a:t>spreadsheets</a:t>
            </a:r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387DA9D-B4FD-411C-ABE0-52F11B2B457C}"/>
              </a:ext>
            </a:extLst>
          </p:cNvPr>
          <p:cNvGrpSpPr/>
          <p:nvPr/>
        </p:nvGrpSpPr>
        <p:grpSpPr>
          <a:xfrm>
            <a:off x="3683732" y="2790957"/>
            <a:ext cx="287704" cy="288000"/>
            <a:chOff x="3360000" y="3069000"/>
            <a:chExt cx="287704" cy="288000"/>
          </a:xfrm>
        </p:grpSpPr>
        <p:sp>
          <p:nvSpPr>
            <p:cNvPr id="100" name="Rechteck: abgerundete Ecken 99">
              <a:extLst>
                <a:ext uri="{FF2B5EF4-FFF2-40B4-BE49-F238E27FC236}">
                  <a16:creationId xmlns:a16="http://schemas.microsoft.com/office/drawing/2014/main" id="{04F489CC-FEBB-440B-8272-D3230E055B9A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1" name="Gerader Verbinder 100">
              <a:extLst>
                <a:ext uri="{FF2B5EF4-FFF2-40B4-BE49-F238E27FC236}">
                  <a16:creationId xmlns:a16="http://schemas.microsoft.com/office/drawing/2014/main" id="{5DC1006A-89F7-4117-9132-6BB3B33CC1F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>
              <a:extLst>
                <a:ext uri="{FF2B5EF4-FFF2-40B4-BE49-F238E27FC236}">
                  <a16:creationId xmlns:a16="http://schemas.microsoft.com/office/drawing/2014/main" id="{360C30E2-62CB-4575-98B1-31995151249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EDCD4DB2-799A-4335-AA6C-2B37B0FC9056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99AB7435-E157-4031-9773-5B05FECE66B3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B5B909F2-A0E6-4FEB-8FFC-8466FDCFADDA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8C7E3DB4-F83A-4BAA-B05B-A03798B1903E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CA469A09-CC54-4ABB-96A7-152345D248B8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D8C94AA5-0909-46DE-B573-D0F0ADA7BFE3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9EEA1C58-FFB1-46A1-8BBE-9A6D87155601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C87ADDF2-5BD0-48EE-B9C3-DF147008E3A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AB938CA5-17F5-4522-8F20-F12CA64CEE84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sz="1400" b="1">
                  <a:solidFill>
                    <a:srgbClr val="A6A6A6"/>
                  </a:solidFill>
                </a:rPr>
                <a:t>X</a:t>
              </a:r>
              <a:endParaRPr lang="en-US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441A85DC-877C-4E19-82CD-237ED9943F37}"/>
              </a:ext>
            </a:extLst>
          </p:cNvPr>
          <p:cNvGrpSpPr/>
          <p:nvPr/>
        </p:nvGrpSpPr>
        <p:grpSpPr>
          <a:xfrm>
            <a:off x="7644214" y="2934941"/>
            <a:ext cx="431636" cy="432080"/>
            <a:chOff x="3360000" y="3069000"/>
            <a:chExt cx="287704" cy="288000"/>
          </a:xfrm>
        </p:grpSpPr>
        <p:sp>
          <p:nvSpPr>
            <p:cNvPr id="113" name="Rechteck: abgerundete Ecken 112">
              <a:extLst>
                <a:ext uri="{FF2B5EF4-FFF2-40B4-BE49-F238E27FC236}">
                  <a16:creationId xmlns:a16="http://schemas.microsoft.com/office/drawing/2014/main" id="{B962FAA1-FBA3-4E2A-BC48-92FF2103CE8E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2D6B2A07-6B51-4F2C-A293-A3BB7F1DE9CD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7A6116B1-9883-4490-BFD5-650BFE84E666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156405F1-34C3-4167-8DF1-F213D91EA0ED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A42BEE70-0F39-4917-B2DE-4513E64C9E04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9340FAD6-AB5C-44F4-BD90-9F88A79A00BD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39A6DCA6-BAC4-469A-A06C-3939B29661B0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r Verbinder 149">
              <a:extLst>
                <a:ext uri="{FF2B5EF4-FFF2-40B4-BE49-F238E27FC236}">
                  <a16:creationId xmlns:a16="http://schemas.microsoft.com/office/drawing/2014/main" id="{72F6D2A3-55DF-4FB4-8776-85972CC8D2C2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>
              <a:extLst>
                <a:ext uri="{FF2B5EF4-FFF2-40B4-BE49-F238E27FC236}">
                  <a16:creationId xmlns:a16="http://schemas.microsoft.com/office/drawing/2014/main" id="{14EB13B7-21E3-4A30-845D-684B71E389F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id="{9C3BAF72-D6B9-4B97-AAFA-350889B251DB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>
              <a:extLst>
                <a:ext uri="{FF2B5EF4-FFF2-40B4-BE49-F238E27FC236}">
                  <a16:creationId xmlns:a16="http://schemas.microsoft.com/office/drawing/2014/main" id="{716646DE-7A0D-4A46-99D6-FFE41A4B020B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rapezoid 195">
              <a:extLst>
                <a:ext uri="{FF2B5EF4-FFF2-40B4-BE49-F238E27FC236}">
                  <a16:creationId xmlns:a16="http://schemas.microsoft.com/office/drawing/2014/main" id="{9A738501-5950-427E-8297-83E71B41C78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D078F6E-06EE-4D50-9F6B-33FBC713D098}"/>
              </a:ext>
            </a:extLst>
          </p:cNvPr>
          <p:cNvGrpSpPr/>
          <p:nvPr/>
        </p:nvGrpSpPr>
        <p:grpSpPr>
          <a:xfrm>
            <a:off x="3683732" y="3763065"/>
            <a:ext cx="324000" cy="324000"/>
            <a:chOff x="2495600" y="4725144"/>
            <a:chExt cx="324000" cy="324000"/>
          </a:xfrm>
        </p:grpSpPr>
        <p:sp>
          <p:nvSpPr>
            <p:cNvPr id="197" name="World">
              <a:extLst>
                <a:ext uri="{FF2B5EF4-FFF2-40B4-BE49-F238E27FC236}">
                  <a16:creationId xmlns:a16="http://schemas.microsoft.com/office/drawing/2014/main" id="{71D56DC9-E791-4500-B38F-6CF0CB5E2422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bg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98" name="World">
              <a:extLst>
                <a:ext uri="{FF2B5EF4-FFF2-40B4-BE49-F238E27FC236}">
                  <a16:creationId xmlns:a16="http://schemas.microsoft.com/office/drawing/2014/main" id="{A09BD877-F008-40FC-A404-5A7E7AC46983}"/>
                </a:ext>
              </a:extLst>
            </p:cNvPr>
            <p:cNvSpPr/>
            <p:nvPr/>
          </p:nvSpPr>
          <p:spPr>
            <a:xfrm>
              <a:off x="2495600" y="4725144"/>
              <a:ext cx="324000" cy="3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4845" y="0"/>
                    <a:pt x="0" y="4845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6755" y="21600"/>
                    <a:pt x="21600" y="16755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1993" y="938"/>
                  </a:moveTo>
                  <a:cubicBezTo>
                    <a:pt x="14122" y="1194"/>
                    <a:pt x="16044" y="2125"/>
                    <a:pt x="17542" y="3512"/>
                  </a:cubicBezTo>
                  <a:cubicBezTo>
                    <a:pt x="16898" y="4108"/>
                    <a:pt x="16188" y="4611"/>
                    <a:pt x="15429" y="5012"/>
                  </a:cubicBezTo>
                  <a:cubicBezTo>
                    <a:pt x="15343" y="4850"/>
                    <a:pt x="15255" y="4689"/>
                    <a:pt x="15162" y="4531"/>
                  </a:cubicBezTo>
                  <a:cubicBezTo>
                    <a:pt x="14347" y="3140"/>
                    <a:pt x="13267" y="1918"/>
                    <a:pt x="11993" y="938"/>
                  </a:cubicBezTo>
                  <a:close/>
                  <a:moveTo>
                    <a:pt x="9560" y="943"/>
                  </a:moveTo>
                  <a:cubicBezTo>
                    <a:pt x="8289" y="1922"/>
                    <a:pt x="7211" y="3142"/>
                    <a:pt x="6397" y="4531"/>
                  </a:cubicBezTo>
                  <a:cubicBezTo>
                    <a:pt x="6308" y="4684"/>
                    <a:pt x="6222" y="4839"/>
                    <a:pt x="6139" y="4995"/>
                  </a:cubicBezTo>
                  <a:cubicBezTo>
                    <a:pt x="5392" y="4597"/>
                    <a:pt x="4693" y="4100"/>
                    <a:pt x="4058" y="3512"/>
                  </a:cubicBezTo>
                  <a:cubicBezTo>
                    <a:pt x="5545" y="2136"/>
                    <a:pt x="7450" y="1207"/>
                    <a:pt x="9560" y="943"/>
                  </a:cubicBezTo>
                  <a:close/>
                  <a:moveTo>
                    <a:pt x="10366" y="1421"/>
                  </a:moveTo>
                  <a:lnTo>
                    <a:pt x="10366" y="6141"/>
                  </a:lnTo>
                  <a:cubicBezTo>
                    <a:pt x="9165" y="6090"/>
                    <a:pt x="8002" y="5827"/>
                    <a:pt x="6920" y="5368"/>
                  </a:cubicBezTo>
                  <a:cubicBezTo>
                    <a:pt x="6992" y="5234"/>
                    <a:pt x="7066" y="5100"/>
                    <a:pt x="7143" y="4968"/>
                  </a:cubicBezTo>
                  <a:cubicBezTo>
                    <a:pt x="7960" y="3575"/>
                    <a:pt x="9062" y="2365"/>
                    <a:pt x="10366" y="1421"/>
                  </a:cubicBezTo>
                  <a:close/>
                  <a:moveTo>
                    <a:pt x="11234" y="1451"/>
                  </a:moveTo>
                  <a:cubicBezTo>
                    <a:pt x="12520" y="2391"/>
                    <a:pt x="13607" y="3589"/>
                    <a:pt x="14415" y="4968"/>
                  </a:cubicBezTo>
                  <a:cubicBezTo>
                    <a:pt x="14495" y="5104"/>
                    <a:pt x="14572" y="5244"/>
                    <a:pt x="14646" y="5383"/>
                  </a:cubicBezTo>
                  <a:cubicBezTo>
                    <a:pt x="13574" y="5833"/>
                    <a:pt x="12424" y="6090"/>
                    <a:pt x="11234" y="6141"/>
                  </a:cubicBezTo>
                  <a:lnTo>
                    <a:pt x="11234" y="1451"/>
                  </a:lnTo>
                  <a:close/>
                  <a:moveTo>
                    <a:pt x="3448" y="4128"/>
                  </a:moveTo>
                  <a:cubicBezTo>
                    <a:pt x="4152" y="4783"/>
                    <a:pt x="4928" y="5335"/>
                    <a:pt x="5759" y="5775"/>
                  </a:cubicBezTo>
                  <a:cubicBezTo>
                    <a:pt x="5120" y="7219"/>
                    <a:pt x="4759" y="8779"/>
                    <a:pt x="4701" y="10368"/>
                  </a:cubicBezTo>
                  <a:lnTo>
                    <a:pt x="876" y="10368"/>
                  </a:lnTo>
                  <a:cubicBezTo>
                    <a:pt x="979" y="7972"/>
                    <a:pt x="1935" y="5793"/>
                    <a:pt x="3448" y="4128"/>
                  </a:cubicBezTo>
                  <a:close/>
                  <a:moveTo>
                    <a:pt x="18152" y="4128"/>
                  </a:moveTo>
                  <a:cubicBezTo>
                    <a:pt x="19665" y="5793"/>
                    <a:pt x="20621" y="7972"/>
                    <a:pt x="20724" y="10368"/>
                  </a:cubicBezTo>
                  <a:lnTo>
                    <a:pt x="16858" y="10368"/>
                  </a:lnTo>
                  <a:cubicBezTo>
                    <a:pt x="16800" y="8785"/>
                    <a:pt x="16441" y="7231"/>
                    <a:pt x="15807" y="5792"/>
                  </a:cubicBezTo>
                  <a:cubicBezTo>
                    <a:pt x="16650" y="5349"/>
                    <a:pt x="17439" y="4792"/>
                    <a:pt x="18152" y="4128"/>
                  </a:cubicBezTo>
                  <a:close/>
                  <a:moveTo>
                    <a:pt x="6541" y="6148"/>
                  </a:moveTo>
                  <a:cubicBezTo>
                    <a:pt x="7739" y="6662"/>
                    <a:pt x="9031" y="6956"/>
                    <a:pt x="10366" y="7008"/>
                  </a:cubicBezTo>
                  <a:lnTo>
                    <a:pt x="10366" y="10368"/>
                  </a:lnTo>
                  <a:lnTo>
                    <a:pt x="5569" y="10368"/>
                  </a:lnTo>
                  <a:cubicBezTo>
                    <a:pt x="5626" y="8908"/>
                    <a:pt x="5956" y="7475"/>
                    <a:pt x="6541" y="6148"/>
                  </a:cubicBezTo>
                  <a:close/>
                  <a:moveTo>
                    <a:pt x="15024" y="6163"/>
                  </a:moveTo>
                  <a:cubicBezTo>
                    <a:pt x="15604" y="7486"/>
                    <a:pt x="15934" y="8914"/>
                    <a:pt x="15991" y="10368"/>
                  </a:cubicBezTo>
                  <a:lnTo>
                    <a:pt x="11234" y="10368"/>
                  </a:lnTo>
                  <a:lnTo>
                    <a:pt x="11234" y="7008"/>
                  </a:lnTo>
                  <a:cubicBezTo>
                    <a:pt x="12557" y="6956"/>
                    <a:pt x="13835" y="6668"/>
                    <a:pt x="15024" y="6163"/>
                  </a:cubicBezTo>
                  <a:close/>
                  <a:moveTo>
                    <a:pt x="876" y="11234"/>
                  </a:moveTo>
                  <a:lnTo>
                    <a:pt x="4700" y="11234"/>
                  </a:lnTo>
                  <a:cubicBezTo>
                    <a:pt x="4753" y="12849"/>
                    <a:pt x="5119" y="14437"/>
                    <a:pt x="5773" y="15903"/>
                  </a:cubicBezTo>
                  <a:cubicBezTo>
                    <a:pt x="4953" y="16335"/>
                    <a:pt x="4185" y="16876"/>
                    <a:pt x="3488" y="17518"/>
                  </a:cubicBezTo>
                  <a:cubicBezTo>
                    <a:pt x="1952" y="15847"/>
                    <a:pt x="980" y="13652"/>
                    <a:pt x="876" y="11234"/>
                  </a:cubicBezTo>
                  <a:close/>
                  <a:moveTo>
                    <a:pt x="5567" y="11234"/>
                  </a:moveTo>
                  <a:lnTo>
                    <a:pt x="10366" y="11234"/>
                  </a:lnTo>
                  <a:lnTo>
                    <a:pt x="10366" y="14676"/>
                  </a:lnTo>
                  <a:cubicBezTo>
                    <a:pt x="9036" y="14728"/>
                    <a:pt x="7749" y="15021"/>
                    <a:pt x="6554" y="15532"/>
                  </a:cubicBezTo>
                  <a:cubicBezTo>
                    <a:pt x="5955" y="14182"/>
                    <a:pt x="5619" y="12720"/>
                    <a:pt x="5567" y="11234"/>
                  </a:cubicBezTo>
                  <a:close/>
                  <a:moveTo>
                    <a:pt x="11234" y="11234"/>
                  </a:moveTo>
                  <a:lnTo>
                    <a:pt x="15992" y="11234"/>
                  </a:lnTo>
                  <a:cubicBezTo>
                    <a:pt x="15940" y="12714"/>
                    <a:pt x="15605" y="14169"/>
                    <a:pt x="15010" y="15515"/>
                  </a:cubicBezTo>
                  <a:cubicBezTo>
                    <a:pt x="13825" y="15013"/>
                    <a:pt x="12552" y="14728"/>
                    <a:pt x="11234" y="14676"/>
                  </a:cubicBezTo>
                  <a:lnTo>
                    <a:pt x="11234" y="11234"/>
                  </a:lnTo>
                  <a:close/>
                  <a:moveTo>
                    <a:pt x="16860" y="11234"/>
                  </a:moveTo>
                  <a:lnTo>
                    <a:pt x="20724" y="11234"/>
                  </a:lnTo>
                  <a:cubicBezTo>
                    <a:pt x="20620" y="13652"/>
                    <a:pt x="19648" y="15847"/>
                    <a:pt x="18112" y="17518"/>
                  </a:cubicBezTo>
                  <a:cubicBezTo>
                    <a:pt x="17406" y="16867"/>
                    <a:pt x="16627" y="16321"/>
                    <a:pt x="15795" y="15886"/>
                  </a:cubicBezTo>
                  <a:cubicBezTo>
                    <a:pt x="16444" y="14425"/>
                    <a:pt x="16807" y="12842"/>
                    <a:pt x="16860" y="11234"/>
                  </a:cubicBezTo>
                  <a:close/>
                  <a:moveTo>
                    <a:pt x="10366" y="15544"/>
                  </a:moveTo>
                  <a:lnTo>
                    <a:pt x="10366" y="20226"/>
                  </a:lnTo>
                  <a:cubicBezTo>
                    <a:pt x="9026" y="19256"/>
                    <a:pt x="7899" y="18005"/>
                    <a:pt x="7077" y="16566"/>
                  </a:cubicBezTo>
                  <a:cubicBezTo>
                    <a:pt x="7029" y="16481"/>
                    <a:pt x="6982" y="16396"/>
                    <a:pt x="6936" y="16310"/>
                  </a:cubicBezTo>
                  <a:cubicBezTo>
                    <a:pt x="8013" y="15855"/>
                    <a:pt x="9170" y="15594"/>
                    <a:pt x="10366" y="15544"/>
                  </a:cubicBezTo>
                  <a:close/>
                  <a:moveTo>
                    <a:pt x="11234" y="15544"/>
                  </a:moveTo>
                  <a:cubicBezTo>
                    <a:pt x="12418" y="15594"/>
                    <a:pt x="13563" y="15849"/>
                    <a:pt x="14631" y="16295"/>
                  </a:cubicBezTo>
                  <a:cubicBezTo>
                    <a:pt x="14582" y="16386"/>
                    <a:pt x="14532" y="16476"/>
                    <a:pt x="14480" y="16566"/>
                  </a:cubicBezTo>
                  <a:cubicBezTo>
                    <a:pt x="13667" y="17990"/>
                    <a:pt x="12556" y="19230"/>
                    <a:pt x="11234" y="20196"/>
                  </a:cubicBezTo>
                  <a:lnTo>
                    <a:pt x="11234" y="15544"/>
                  </a:lnTo>
                  <a:close/>
                  <a:moveTo>
                    <a:pt x="15415" y="16666"/>
                  </a:moveTo>
                  <a:cubicBezTo>
                    <a:pt x="16162" y="17059"/>
                    <a:pt x="16861" y="17548"/>
                    <a:pt x="17498" y="18131"/>
                  </a:cubicBezTo>
                  <a:cubicBezTo>
                    <a:pt x="16023" y="19479"/>
                    <a:pt x="14143" y="20390"/>
                    <a:pt x="12062" y="20655"/>
                  </a:cubicBezTo>
                  <a:cubicBezTo>
                    <a:pt x="13343" y="19655"/>
                    <a:pt x="14426" y="18410"/>
                    <a:pt x="15233" y="16997"/>
                  </a:cubicBezTo>
                  <a:cubicBezTo>
                    <a:pt x="15295" y="16887"/>
                    <a:pt x="15356" y="16777"/>
                    <a:pt x="15415" y="16666"/>
                  </a:cubicBezTo>
                  <a:close/>
                  <a:moveTo>
                    <a:pt x="6153" y="16683"/>
                  </a:moveTo>
                  <a:cubicBezTo>
                    <a:pt x="6209" y="16788"/>
                    <a:pt x="6267" y="16893"/>
                    <a:pt x="6326" y="16997"/>
                  </a:cubicBezTo>
                  <a:cubicBezTo>
                    <a:pt x="7132" y="18407"/>
                    <a:pt x="8212" y="19649"/>
                    <a:pt x="9489" y="20648"/>
                  </a:cubicBezTo>
                  <a:cubicBezTo>
                    <a:pt x="7428" y="20375"/>
                    <a:pt x="5565" y="19468"/>
                    <a:pt x="4102" y="18131"/>
                  </a:cubicBezTo>
                  <a:cubicBezTo>
                    <a:pt x="4730" y="17557"/>
                    <a:pt x="5418" y="17073"/>
                    <a:pt x="6153" y="16683"/>
                  </a:cubicBez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535353"/>
              </a:solidFill>
              <a:miter lim="400000"/>
            </a:ln>
          </p:spPr>
          <p:txBody>
            <a:bodyPr lIns="36000" tIns="36000" rIns="36000" bIns="3600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629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77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2025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234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249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30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321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717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8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50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51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877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6165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573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75CEADC7-BFF3-024F-8C7B-E3EDB8027890}"/>
              </a:ext>
            </a:extLst>
          </p:cNvPr>
          <p:cNvSpPr/>
          <p:nvPr/>
        </p:nvSpPr>
        <p:spPr>
          <a:xfrm>
            <a:off x="2064000" y="985261"/>
            <a:ext cx="86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16 Statements, 0 Loops and 0 Variables to organize all the Presidents</a:t>
            </a:r>
            <a:endParaRPr lang="en-US" b="1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AE2FB03E-0E21-154C-8E57-C8D2DFB78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Data: Analyzing all Presidents in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5256000" cy="50400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0CCB67B-85A9-F940-B3AE-4A5A8C07E524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E">
                <a:solidFill>
                  <a:srgbClr val="2850A0"/>
                </a:solidFill>
              </a:rPr>
              <a:t>B4P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i="1" dirty="0">
                <a:solidFill>
                  <a:srgbClr val="3264C8"/>
                </a:solidFill>
              </a:rPr>
              <a:t>www.b4p.app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using 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610463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nasdaq100, sp500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2042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2294435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978463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326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770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986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706407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99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6074463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858463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634463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>
            <a:extLst>
              <a:ext uri="{FF2B5EF4-FFF2-40B4-BE49-F238E27FC236}">
                <a16:creationId xmlns:a16="http://schemas.microsoft.com/office/drawing/2014/main" id="{1C1C08D3-26B9-2A4F-BE98-FEF2EF2E5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gram Example #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bining Stock Data: SP 500 and NASDAQ 100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D1373A-ACD5-CC4B-992D-B877672CDBCA}"/>
              </a:ext>
            </a:extLst>
          </p:cNvPr>
          <p:cNvSpPr/>
          <p:nvPr/>
        </p:nvSpPr>
        <p:spPr>
          <a:xfrm>
            <a:off x="2856000" y="1063936"/>
            <a:ext cx="66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8 additional statements provide coloring and formatting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3813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183337" y="1845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51113CFF-E797-B44D-B56E-9915EE7A475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7269523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A8400900-A25C-2049-AE76-BF78071796FE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ECE5D02F-809E-0445-95C1-1802FB2A1CE9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3506014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8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529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82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30E6C573-0AE8-2444-869C-D48AB583EB7A}"/>
              </a:ext>
            </a:extLst>
          </p:cNvPr>
          <p:cNvSpPr/>
          <p:nvPr/>
        </p:nvSpPr>
        <p:spPr>
          <a:xfrm>
            <a:off x="1184366" y="1309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D6F0E014-889F-054D-A0E6-17F34735657A}"/>
              </a:ext>
            </a:extLst>
          </p:cNvPr>
          <p:cNvSpPr/>
          <p:nvPr/>
        </p:nvSpPr>
        <p:spPr>
          <a:xfrm>
            <a:off x="1236000" y="369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74325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Solution: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272000" y="3789000"/>
            <a:ext cx="86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rgbClr val="2850A0"/>
                </a:solidFill>
                <a:latin typeface="Arial Black" panose="020B0A04020102020204" pitchFamily="34" charset="0"/>
              </a:rPr>
              <a:t>B4P Program Examples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19CB9213-684C-F14A-BD2D-5277ECC3D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Table of Contents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1243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B4P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6336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31" name="Rechteck 15">
            <a:extLst>
              <a:ext uri="{FF2B5EF4-FFF2-40B4-BE49-F238E27FC236}">
                <a16:creationId xmlns:a16="http://schemas.microsoft.com/office/drawing/2014/main" id="{C62714FA-FC26-7C4E-B5A7-062096A3F3DC}"/>
              </a:ext>
            </a:extLst>
          </p:cNvPr>
          <p:cNvSpPr/>
          <p:nvPr/>
        </p:nvSpPr>
        <p:spPr>
          <a:xfrm>
            <a:off x="1278583" y="297000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Table of Contents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92449078-00F2-464A-A282-041D7633CA98}"/>
              </a:ext>
            </a:extLst>
          </p:cNvPr>
          <p:cNvSpPr/>
          <p:nvPr/>
        </p:nvSpPr>
        <p:spPr>
          <a:xfrm>
            <a:off x="1301897" y="3789000"/>
            <a:ext cx="6408000" cy="504000"/>
          </a:xfrm>
          <a:prstGeom prst="rect">
            <a:avLst/>
          </a:prstGeom>
          <a:solidFill>
            <a:srgbClr val="3264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4" name="Rechteck 17">
            <a:extLst>
              <a:ext uri="{FF2B5EF4-FFF2-40B4-BE49-F238E27FC236}">
                <a16:creationId xmlns:a16="http://schemas.microsoft.com/office/drawing/2014/main" id="{CBE10353-DEFD-F94E-A1D6-5584529347CD}"/>
              </a:ext>
            </a:extLst>
          </p:cNvPr>
          <p:cNvSpPr/>
          <p:nvPr/>
        </p:nvSpPr>
        <p:spPr>
          <a:xfrm>
            <a:off x="1184366" y="1273492"/>
            <a:ext cx="6408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450988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ual data integration and analysis is labor-intensive and error-pron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3755688" y="1331317"/>
            <a:ext cx="3852312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Start  your data analysis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3720000" y="6092960"/>
            <a:ext cx="4284000" cy="3600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>
                    <a:lumMod val="95000"/>
                  </a:schemeClr>
                </a:solidFill>
              </a:rPr>
              <a:t>Work completed: late, inconsistent, error-pro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978790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842886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643086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978790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5363006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778990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627006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754843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779006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695027"/>
            <a:ext cx="1421998" cy="28376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2266898"/>
            <a:ext cx="863832" cy="3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627006"/>
            <a:ext cx="72000" cy="21588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2266898"/>
            <a:ext cx="612216" cy="4879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3058910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4103006"/>
            <a:ext cx="2808304" cy="2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3274934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3058910"/>
            <a:ext cx="144016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915006"/>
            <a:ext cx="216000" cy="14390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895114"/>
            <a:ext cx="1512088" cy="37245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5015540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4427062"/>
            <a:ext cx="108004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4427006"/>
            <a:ext cx="1296104" cy="58853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4355006"/>
            <a:ext cx="2664296" cy="54010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5267568"/>
            <a:ext cx="1655792" cy="34746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5147142"/>
            <a:ext cx="215852" cy="21586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923006"/>
            <a:ext cx="1584176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3490958"/>
            <a:ext cx="1728184" cy="360048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867062"/>
            <a:ext cx="216000" cy="215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562966"/>
            <a:ext cx="899792" cy="2160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3347006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897858" y="2865316"/>
            <a:ext cx="1403900" cy="314034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rrors Introduc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643006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4427006"/>
            <a:ext cx="400200" cy="216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5147062"/>
            <a:ext cx="832200" cy="28794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Expensive, external vendor dependency, no long-term sustainability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Unreadable, unchangeable, opaque code cannot be created nor adapted by business users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, opaque, un-auditable, poorly performing code if tasks are not very small and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becomes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drops significantly when working with large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8175D5C-7DA7-6844-9C46-CDE109EEE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ntional methods of analytics automation are complex and unsustainable</a:t>
            </a:r>
            <a:endParaRPr lang="de-CH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integration and analysis with a low-code analytics engin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296000" y="5733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7001"/>
            <a:ext cx="11448000" cy="2736000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ges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3288000" y="2493000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0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48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3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39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2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18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07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16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nrichment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12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52000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2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&amp; 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48000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54400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3288000" y="3069000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e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18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2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16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0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48000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488000" y="3068960"/>
            <a:ext cx="1368000" cy="12242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391569" y="3966003"/>
            <a:ext cx="134072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</a:rPr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697491" y="5085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29491" y="5301000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27592" y="4977000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19700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82DF275-694B-44A7-9555-EB9F2F6FB9F3}"/>
              </a:ext>
            </a:extLst>
          </p:cNvPr>
          <p:cNvSpPr/>
          <p:nvPr/>
        </p:nvSpPr>
        <p:spPr>
          <a:xfrm>
            <a:off x="4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8026A1-6EDB-4B89-9841-49ADA02F9FE7}"/>
              </a:ext>
            </a:extLst>
          </p:cNvPr>
          <p:cNvSpPr/>
          <p:nvPr/>
        </p:nvSpPr>
        <p:spPr>
          <a:xfrm>
            <a:off x="18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9DBB97A-BFFB-41F0-AD63-AB2A141F028F}"/>
              </a:ext>
            </a:extLst>
          </p:cNvPr>
          <p:cNvSpPr/>
          <p:nvPr/>
        </p:nvSpPr>
        <p:spPr>
          <a:xfrm>
            <a:off x="32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93DBE8C-13E1-464F-828A-E82CADCBCF73}"/>
              </a:ext>
            </a:extLst>
          </p:cNvPr>
          <p:cNvSpPr/>
          <p:nvPr/>
        </p:nvSpPr>
        <p:spPr>
          <a:xfrm>
            <a:off x="472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CD808F3-901C-42DC-AB95-1D6B32CEFE91}"/>
              </a:ext>
            </a:extLst>
          </p:cNvPr>
          <p:cNvSpPr/>
          <p:nvPr/>
        </p:nvSpPr>
        <p:spPr>
          <a:xfrm>
            <a:off x="616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1382942-7921-4CD4-8EBD-AECB3DD44E67}"/>
              </a:ext>
            </a:extLst>
          </p:cNvPr>
          <p:cNvSpPr/>
          <p:nvPr/>
        </p:nvSpPr>
        <p:spPr>
          <a:xfrm>
            <a:off x="760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422408D-F039-4E8C-9ECC-6671D072BB49}"/>
              </a:ext>
            </a:extLst>
          </p:cNvPr>
          <p:cNvSpPr/>
          <p:nvPr/>
        </p:nvSpPr>
        <p:spPr>
          <a:xfrm>
            <a:off x="904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F1B2CC9-79A5-471F-BCD5-52155B6A8BFD}"/>
              </a:ext>
            </a:extLst>
          </p:cNvPr>
          <p:cNvSpPr/>
          <p:nvPr/>
        </p:nvSpPr>
        <p:spPr>
          <a:xfrm>
            <a:off x="10488000" y="227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 in a Global Corporation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imple syntax</a:t>
            </a:r>
            <a:r>
              <a:rPr lang="en-US" sz="1200" dirty="0">
                <a:solidFill>
                  <a:schemeClr val="tx1"/>
                </a:solidFill>
              </a:rPr>
              <a:t>: Easy to read, learn, understand and r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xtensive library </a:t>
            </a:r>
            <a:r>
              <a:rPr lang="en-US" sz="1200" dirty="0">
                <a:solidFill>
                  <a:schemeClr val="tx1"/>
                </a:solidFill>
              </a:rPr>
              <a:t>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ompact methods </a:t>
            </a:r>
            <a:r>
              <a:rPr lang="en-US" sz="1200" dirty="0">
                <a:solidFill>
                  <a:schemeClr val="tx1"/>
                </a:solidFill>
              </a:rPr>
              <a:t>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552000" y="4653000"/>
            <a:ext cx="4608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Fast</a:t>
            </a:r>
            <a:r>
              <a:rPr lang="en-US" sz="1200" dirty="0">
                <a:solidFill>
                  <a:schemeClr val="tx1"/>
                </a:solidFill>
              </a:rPr>
              <a:t>:  Runs at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many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In seconds, not hour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7000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B4P Solution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2280000" y="5877272"/>
            <a:ext cx="7344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supported easily through B4P library extension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49D4DA1-7D36-4F0F-92C4-5D5EA86EBA4B}"/>
              </a:ext>
            </a:extLst>
          </p:cNvPr>
          <p:cNvGrpSpPr/>
          <p:nvPr/>
        </p:nvGrpSpPr>
        <p:grpSpPr>
          <a:xfrm>
            <a:off x="5088000" y="1557000"/>
            <a:ext cx="431646" cy="432080"/>
            <a:chOff x="3359994" y="3069000"/>
            <a:chExt cx="287710" cy="288000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C95FB8D-1FBF-4694-9671-F19FC52C1D7B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620689D-B103-48E8-A066-F2AAA0D828EC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85833733-5EED-4968-BCC4-71CB8FB934C7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17997A1-6CE7-43F0-8B10-C233B8BA31F1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F6A7222B-E2FC-49EA-A762-213E13BB6FD9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B30FFA0-CC35-4B3E-AFCC-85B135B65413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F18CABB0-61A3-4493-AA18-F0BAC2D7A38F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449A02E4-EC99-4051-9930-24141CCAE2E3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FDDBD3-F72B-481B-A668-3EEE2A154805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57E3703-4938-4E8F-99F4-6DD98190526A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89FDD19-F37D-449D-9420-C828F51B4530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41337EF3-1C8C-4CA1-8360-915AB85EC2BC}"/>
                </a:ext>
              </a:extLst>
            </p:cNvPr>
            <p:cNvSpPr/>
            <p:nvPr/>
          </p:nvSpPr>
          <p:spPr>
            <a:xfrm rot="16200000" flipH="1">
              <a:off x="3305994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A6A6A6"/>
                  </a:solidFill>
                </a:rPr>
                <a:t>X</a:t>
              </a:r>
              <a:endParaRPr lang="en-US" sz="2400" b="1" dirty="0">
                <a:solidFill>
                  <a:srgbClr val="A6A6A6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928F5A7-75EA-4348-8E3C-4113851C25E9}"/>
              </a:ext>
            </a:extLst>
          </p:cNvPr>
          <p:cNvGrpSpPr/>
          <p:nvPr/>
        </p:nvGrpSpPr>
        <p:grpSpPr>
          <a:xfrm>
            <a:off x="11136000" y="1557000"/>
            <a:ext cx="431636" cy="432080"/>
            <a:chOff x="3360000" y="3069000"/>
            <a:chExt cx="287704" cy="288000"/>
          </a:xfrm>
        </p:grpSpPr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326E271E-829D-4BD0-9252-0810A9336E13}"/>
                </a:ext>
              </a:extLst>
            </p:cNvPr>
            <p:cNvSpPr/>
            <p:nvPr/>
          </p:nvSpPr>
          <p:spPr>
            <a:xfrm>
              <a:off x="3431704" y="3104964"/>
              <a:ext cx="216000" cy="216000"/>
            </a:xfrm>
            <a:prstGeom prst="roundRect">
              <a:avLst>
                <a:gd name="adj" fmla="val 11155"/>
              </a:avLst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FD8E9E3-5300-46EC-8E5A-893DD377C002}"/>
                </a:ext>
              </a:extLst>
            </p:cNvPr>
            <p:cNvCxnSpPr/>
            <p:nvPr/>
          </p:nvCxnSpPr>
          <p:spPr>
            <a:xfrm>
              <a:off x="3530192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E41671-1AFA-4935-B923-FB49B2C842D4}"/>
                </a:ext>
              </a:extLst>
            </p:cNvPr>
            <p:cNvCxnSpPr/>
            <p:nvPr/>
          </p:nvCxnSpPr>
          <p:spPr>
            <a:xfrm>
              <a:off x="3585244" y="3140968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94A11DA-9705-4E4C-AB56-D0B6CCD829DB}"/>
                </a:ext>
              </a:extLst>
            </p:cNvPr>
            <p:cNvCxnSpPr/>
            <p:nvPr/>
          </p:nvCxnSpPr>
          <p:spPr>
            <a:xfrm>
              <a:off x="3530192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CAF54D6-C1A8-42EC-98BF-0BCBA6A5F4C0}"/>
                </a:ext>
              </a:extLst>
            </p:cNvPr>
            <p:cNvCxnSpPr/>
            <p:nvPr/>
          </p:nvCxnSpPr>
          <p:spPr>
            <a:xfrm>
              <a:off x="3585244" y="3176972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5F85F87-08B9-4FEA-A1BA-C26F6D6F70E0}"/>
                </a:ext>
              </a:extLst>
            </p:cNvPr>
            <p:cNvCxnSpPr/>
            <p:nvPr/>
          </p:nvCxnSpPr>
          <p:spPr>
            <a:xfrm>
              <a:off x="3530192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13ADEA-70CC-4E2D-B600-2381F8BD2BED}"/>
                </a:ext>
              </a:extLst>
            </p:cNvPr>
            <p:cNvCxnSpPr/>
            <p:nvPr/>
          </p:nvCxnSpPr>
          <p:spPr>
            <a:xfrm>
              <a:off x="3585244" y="3212976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EB0124F-63DE-4DC4-A451-E82655681DC6}"/>
                </a:ext>
              </a:extLst>
            </p:cNvPr>
            <p:cNvCxnSpPr/>
            <p:nvPr/>
          </p:nvCxnSpPr>
          <p:spPr>
            <a:xfrm>
              <a:off x="3530192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355C9AE6-0B67-4436-98D5-266BB9AE36DC}"/>
                </a:ext>
              </a:extLst>
            </p:cNvPr>
            <p:cNvCxnSpPr/>
            <p:nvPr/>
          </p:nvCxnSpPr>
          <p:spPr>
            <a:xfrm>
              <a:off x="3585244" y="3248980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9C5278D-607F-41EB-9098-EFD5D19A97F4}"/>
                </a:ext>
              </a:extLst>
            </p:cNvPr>
            <p:cNvCxnSpPr/>
            <p:nvPr/>
          </p:nvCxnSpPr>
          <p:spPr>
            <a:xfrm>
              <a:off x="3530192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F81901B-186E-47F6-A521-23201289597C}"/>
                </a:ext>
              </a:extLst>
            </p:cNvPr>
            <p:cNvCxnSpPr/>
            <p:nvPr/>
          </p:nvCxnSpPr>
          <p:spPr>
            <a:xfrm>
              <a:off x="3585244" y="3284984"/>
              <a:ext cx="36004" cy="0"/>
            </a:xfrm>
            <a:prstGeom prst="line">
              <a:avLst/>
            </a:prstGeom>
            <a:ln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B9C19626-48CE-4907-AC25-E2F22CDE7F70}"/>
                </a:ext>
              </a:extLst>
            </p:cNvPr>
            <p:cNvSpPr/>
            <p:nvPr/>
          </p:nvSpPr>
          <p:spPr>
            <a:xfrm rot="16200000" flipH="1">
              <a:off x="3306000" y="3123000"/>
              <a:ext cx="288000" cy="180000"/>
            </a:xfrm>
            <a:prstGeom prst="trapezoid">
              <a:avLst/>
            </a:prstGeom>
            <a:solidFill>
              <a:srgbClr val="FFFFFF"/>
            </a:solidFill>
            <a:ln w="19050" cap="flat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vert="vert" wrap="square" lIns="36000" tIns="36000" rIns="36000" bIns="36000" numCol="1" anchor="ctr">
              <a:noAutofit/>
            </a:bodyPr>
            <a:lstStyle/>
            <a:p>
              <a:pPr algn="ctr"/>
              <a:r>
                <a:rPr lang="en-US" b="1">
                  <a:solidFill>
                    <a:srgbClr val="A6A6A6"/>
                  </a:solidFill>
                </a:rPr>
                <a:t>X</a:t>
              </a:r>
              <a:endParaRPr lang="en-US" sz="2400" b="1">
                <a:solidFill>
                  <a:srgbClr val="A6A6A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76544"/>
            <a:ext cx="1872000" cy="5764456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19056"/>
            <a:ext cx="11232000" cy="71794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850A0"/>
                </a:solidFill>
              </a:rPr>
              <a:t>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ing Corporate data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522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989000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827291"/>
            <a:ext cx="1584176" cy="499085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894560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478764"/>
            <a:ext cx="1584176" cy="50382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 flipV="1">
            <a:off x="2063552" y="2015118"/>
            <a:ext cx="1727568" cy="6218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3134976"/>
            <a:ext cx="1584176" cy="499257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3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3206984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8448" cy="126014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786621"/>
            <a:ext cx="1584176" cy="499254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4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Americ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 flipV="1">
            <a:off x="2063552" y="2025036"/>
            <a:ext cx="1727568" cy="19079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  <a:stCxn id="23" idx="3"/>
          </p:cNvCxnSpPr>
          <p:nvPr/>
        </p:nvCxnSpPr>
        <p:spPr>
          <a:xfrm flipV="1">
            <a:off x="2063552" y="2015119"/>
            <a:ext cx="1727568" cy="31755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941000"/>
            <a:ext cx="1584176" cy="499253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19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50129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2063552" y="2038577"/>
            <a:ext cx="1727568" cy="380369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701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773008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4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493240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2205056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92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314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42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328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314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5" y="3213241"/>
            <a:ext cx="287968" cy="252011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773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1. Load Data from all Sourc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different sites originate from 20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493000"/>
            <a:ext cx="3456000" cy="474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2. Clean-Up and Harmon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314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3. Align Produ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64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86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4149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400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86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5" y="3933241"/>
            <a:ext cx="270260" cy="252012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86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4. Align Project Inform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58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65324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65324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79724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36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54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530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508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530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44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530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602124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80524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61652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949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6021240"/>
            <a:ext cx="1584176" cy="57583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94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rgbClr val="2850A0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3285240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4005240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373240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6129348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6093488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46139" y="1053163"/>
            <a:ext cx="2625861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b="1" i="1" dirty="0">
                <a:solidFill>
                  <a:srgbClr val="FF0000"/>
                </a:solidFill>
              </a:rPr>
              <a:t>Each region manages their own data in different database systems or manually with 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592641"/>
            <a:ext cx="1584176" cy="499252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rgbClr val="FF0000"/>
                </a:solidFill>
              </a:rPr>
              <a:t>Region 20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ia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37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93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321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609325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167344" y="2493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6012350" y="2421256"/>
            <a:ext cx="245965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B4P">
            <a:extLst>
              <a:ext uri="{FF2B5EF4-FFF2-40B4-BE49-F238E27FC236}">
                <a16:creationId xmlns:a16="http://schemas.microsoft.com/office/drawing/2014/main" id="{BDE38851-10C2-3F43-B588-B0588D890354}"/>
              </a:ext>
            </a:extLst>
          </p:cNvPr>
          <p:cNvSpPr txBox="1"/>
          <p:nvPr/>
        </p:nvSpPr>
        <p:spPr>
          <a:xfrm>
            <a:off x="4061757" y="1134259"/>
            <a:ext cx="1134143" cy="34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3600" noProof="1"/>
              <a:t>B4P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7B026B14-767B-2D44-8777-EF42383B6CD6}"/>
              </a:ext>
            </a:extLst>
          </p:cNvPr>
          <p:cNvSpPr/>
          <p:nvPr/>
        </p:nvSpPr>
        <p:spPr>
          <a:xfrm>
            <a:off x="293414" y="6283963"/>
            <a:ext cx="28696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rgbClr val="FF0000"/>
                </a:solidFill>
              </a:rPr>
              <a:t>More than 20 different files!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5E2B0D88-F1D6-394A-90FB-E29669E8D000}"/>
              </a:ext>
            </a:extLst>
          </p:cNvPr>
          <p:cNvSpPr/>
          <p:nvPr/>
        </p:nvSpPr>
        <p:spPr>
          <a:xfrm>
            <a:off x="1127464" y="4365000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Flussdiagramm: Zentralspeicher 24">
            <a:extLst>
              <a:ext uri="{FF2B5EF4-FFF2-40B4-BE49-F238E27FC236}">
                <a16:creationId xmlns:a16="http://schemas.microsoft.com/office/drawing/2014/main" id="{142575E9-7493-1447-934B-16550584CE2E}"/>
              </a:ext>
            </a:extLst>
          </p:cNvPr>
          <p:cNvSpPr/>
          <p:nvPr/>
        </p:nvSpPr>
        <p:spPr>
          <a:xfrm>
            <a:off x="1487488" y="2548532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2" name="Flussdiagramm: Zentralspeicher 24">
            <a:extLst>
              <a:ext uri="{FF2B5EF4-FFF2-40B4-BE49-F238E27FC236}">
                <a16:creationId xmlns:a16="http://schemas.microsoft.com/office/drawing/2014/main" id="{164B97F5-ABA3-2B4D-8B03-C37978730B49}"/>
              </a:ext>
            </a:extLst>
          </p:cNvPr>
          <p:cNvSpPr/>
          <p:nvPr/>
        </p:nvSpPr>
        <p:spPr>
          <a:xfrm>
            <a:off x="1503369" y="3842657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43" name="Zylinder 17">
            <a:extLst>
              <a:ext uri="{FF2B5EF4-FFF2-40B4-BE49-F238E27FC236}">
                <a16:creationId xmlns:a16="http://schemas.microsoft.com/office/drawing/2014/main" id="{6B128654-4BD5-8847-BC99-2ED2CE3DEE29}"/>
              </a:ext>
            </a:extLst>
          </p:cNvPr>
          <p:cNvSpPr/>
          <p:nvPr/>
        </p:nvSpPr>
        <p:spPr>
          <a:xfrm>
            <a:off x="1500204" y="5659425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64815474-BF38-0248-9369-69D1D2BDD0EB}"/>
              </a:ext>
            </a:extLst>
          </p:cNvPr>
          <p:cNvSpPr/>
          <p:nvPr/>
        </p:nvSpPr>
        <p:spPr>
          <a:xfrm>
            <a:off x="1127464" y="4537481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AB047E7E-FB62-114A-B198-337B1D0DF0A2}"/>
              </a:ext>
            </a:extLst>
          </p:cNvPr>
          <p:cNvSpPr/>
          <p:nvPr/>
        </p:nvSpPr>
        <p:spPr>
          <a:xfrm>
            <a:off x="1127464" y="4709962"/>
            <a:ext cx="144536" cy="116453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64</TotalTime>
  <Words>6010</Words>
  <Application>Microsoft Macintosh PowerPoint</Application>
  <PresentationFormat>Widescreen</PresentationFormat>
  <Paragraphs>811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Overview  The B4P Data Integration and Analytics Engine</vt:lpstr>
      <vt:lpstr>Table of Contents</vt:lpstr>
      <vt:lpstr>Problem Statement Manual data integration and analysis is labor-intensive and error-prone</vt:lpstr>
      <vt:lpstr>Problem Statement Conventional methods of analytics automation are complex and unsustainable</vt:lpstr>
      <vt:lpstr>B4P Solution Automate your data integration and analysis with a low-code analytics engine</vt:lpstr>
      <vt:lpstr>B4P Solution Based on 14 Years of Experience Solving Problems in a Global Corporation</vt:lpstr>
      <vt:lpstr>B4P Solution Supported Data Formats</vt:lpstr>
      <vt:lpstr>Real-world Use Case #1 Integrating Corporate data from branch offices worldwide</vt:lpstr>
      <vt:lpstr>Real-world Use Case #2 Information interchange between multiple different databases</vt:lpstr>
      <vt:lpstr>Real-world Use Case #3 Enriched Business Intelligence from many data sources</vt:lpstr>
      <vt:lpstr>B4P Language Key Benefits of a Low-Code Language Approach</vt:lpstr>
      <vt:lpstr>B4P Language Syntax and Semantics</vt:lpstr>
      <vt:lpstr>B4P Example #1 Merging Two Tables</vt:lpstr>
      <vt:lpstr>8 statements:  load, clean, align semantics, merge, and save</vt:lpstr>
      <vt:lpstr>PowerPoint Presentation</vt:lpstr>
      <vt:lpstr>B4P Example #2 Combining Stock Data: SP 500 and NASDAQ 100</vt:lpstr>
      <vt:lpstr>B4P Example #2 Combining Stock Data: SP 500 and NASDAQ 100</vt:lpstr>
      <vt:lpstr>B4P Example #3 Web Data: Analyzing all Presidents in Wikipedia</vt:lpstr>
      <vt:lpstr>B4P Example #3 Web Data: Analyzing all Presidents in Wikipedia</vt:lpstr>
      <vt:lpstr>B4P  Beyond Former Performance.</vt:lpstr>
      <vt:lpstr>PowerPoint Presentation</vt:lpstr>
      <vt:lpstr>B4P New in Release 8.00</vt:lpstr>
      <vt:lpstr>B4P Use Case Automatic documentation generation for website www.b4p.app</vt:lpstr>
      <vt:lpstr>B4P Use Case Automatic Document Generation for www.b4p.app using B4P</vt:lpstr>
      <vt:lpstr>Program Example #3 Combining Stock Data: SP 500 and NASDAQ 100</vt:lpstr>
      <vt:lpstr>PowerPoint Presentation</vt:lpstr>
      <vt:lpstr>PowerPoint Presentation</vt:lpstr>
      <vt:lpstr>PowerPoint Presentation</vt:lpstr>
      <vt:lpstr>PowerPoint Presentation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62</cp:revision>
  <cp:lastPrinted>2012-05-04T14:30:29Z</cp:lastPrinted>
  <dcterms:created xsi:type="dcterms:W3CDTF">2016-02-06T20:40:56Z</dcterms:created>
  <dcterms:modified xsi:type="dcterms:W3CDTF">2021-05-20T22:58:19Z</dcterms:modified>
</cp:coreProperties>
</file>